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9"/>
  </p:notesMasterIdLst>
  <p:handoutMasterIdLst>
    <p:handoutMasterId r:id="rId20"/>
  </p:handoutMasterIdLst>
  <p:sldIdLst>
    <p:sldId id="303" r:id="rId2"/>
    <p:sldId id="421" r:id="rId3"/>
    <p:sldId id="422" r:id="rId4"/>
    <p:sldId id="423" r:id="rId5"/>
    <p:sldId id="277" r:id="rId6"/>
    <p:sldId id="326" r:id="rId7"/>
    <p:sldId id="425" r:id="rId8"/>
    <p:sldId id="426" r:id="rId9"/>
    <p:sldId id="427" r:id="rId10"/>
    <p:sldId id="420" r:id="rId11"/>
    <p:sldId id="429" r:id="rId12"/>
    <p:sldId id="431" r:id="rId13"/>
    <p:sldId id="432" r:id="rId14"/>
    <p:sldId id="435" r:id="rId15"/>
    <p:sldId id="430" r:id="rId16"/>
    <p:sldId id="433" r:id="rId17"/>
    <p:sldId id="434" r:id="rId18"/>
  </p:sldIdLst>
  <p:sldSz cx="12192000" cy="6858000"/>
  <p:notesSz cx="6858000" cy="9947275"/>
  <p:custDataLst>
    <p:tags r:id="rId21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CA55F"/>
    <a:srgbClr val="37441C"/>
    <a:srgbClr val="7B9252"/>
    <a:srgbClr val="649818"/>
    <a:srgbClr val="5C9D2F"/>
    <a:srgbClr val="12BA12"/>
    <a:srgbClr val="63BF25"/>
    <a:srgbClr val="6C9A4A"/>
    <a:srgbClr val="99AF71"/>
    <a:srgbClr val="B0D98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72" autoAdjust="0"/>
    <p:restoredTop sz="93135" autoAdjust="0"/>
  </p:normalViewPr>
  <p:slideViewPr>
    <p:cSldViewPr>
      <p:cViewPr varScale="1">
        <p:scale>
          <a:sx n="63" d="100"/>
          <a:sy n="63" d="100"/>
        </p:scale>
        <p:origin x="942" y="4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2547" cy="497921"/>
          </a:xfrm>
          <a:prstGeom prst="rect">
            <a:avLst/>
          </a:prstGeom>
        </p:spPr>
        <p:txBody>
          <a:bodyPr vert="horz" lIns="91879" tIns="45939" rIns="91879" bIns="45939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3852" y="0"/>
            <a:ext cx="2972547" cy="497921"/>
          </a:xfrm>
          <a:prstGeom prst="rect">
            <a:avLst/>
          </a:prstGeom>
        </p:spPr>
        <p:txBody>
          <a:bodyPr vert="horz" lIns="91879" tIns="45939" rIns="91879" bIns="45939" rtlCol="0"/>
          <a:lstStyle>
            <a:lvl1pPr algn="r">
              <a:defRPr sz="1200"/>
            </a:lvl1pPr>
          </a:lstStyle>
          <a:p>
            <a:fld id="{F28E41B6-5949-452D-A944-D2F92DF24E26}" type="datetimeFigureOut">
              <a:rPr lang="ru-RU" smtClean="0"/>
              <a:pPr/>
              <a:t>01.12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7764"/>
            <a:ext cx="2972547" cy="497920"/>
          </a:xfrm>
          <a:prstGeom prst="rect">
            <a:avLst/>
          </a:prstGeom>
        </p:spPr>
        <p:txBody>
          <a:bodyPr vert="horz" lIns="91879" tIns="45939" rIns="91879" bIns="45939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3852" y="9447764"/>
            <a:ext cx="2972547" cy="497920"/>
          </a:xfrm>
          <a:prstGeom prst="rect">
            <a:avLst/>
          </a:prstGeom>
        </p:spPr>
        <p:txBody>
          <a:bodyPr vert="horz" lIns="91879" tIns="45939" rIns="91879" bIns="45939" rtlCol="0" anchor="b"/>
          <a:lstStyle>
            <a:lvl1pPr algn="r">
              <a:defRPr sz="1200"/>
            </a:lvl1pPr>
          </a:lstStyle>
          <a:p>
            <a:fld id="{01A2A794-C862-4232-8D4C-1482BF3A4B7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156409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7364"/>
          </a:xfrm>
          <a:prstGeom prst="rect">
            <a:avLst/>
          </a:prstGeom>
        </p:spPr>
        <p:txBody>
          <a:bodyPr vert="horz" lIns="91879" tIns="45939" rIns="91879" bIns="45939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4" y="0"/>
            <a:ext cx="2971800" cy="497364"/>
          </a:xfrm>
          <a:prstGeom prst="rect">
            <a:avLst/>
          </a:prstGeom>
        </p:spPr>
        <p:txBody>
          <a:bodyPr vert="horz" lIns="91879" tIns="45939" rIns="91879" bIns="45939" rtlCol="0"/>
          <a:lstStyle>
            <a:lvl1pPr algn="r">
              <a:defRPr sz="1200"/>
            </a:lvl1pPr>
          </a:lstStyle>
          <a:p>
            <a:fld id="{17FA9EA2-8FA2-4439-90BA-EA669B3856AB}" type="datetimeFigureOut">
              <a:rPr lang="ru-RU" smtClean="0"/>
              <a:pPr/>
              <a:t>01.12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2713" y="746125"/>
            <a:ext cx="6632575" cy="3730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879" tIns="45939" rIns="91879" bIns="45939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1" y="4724956"/>
            <a:ext cx="5486400" cy="4476274"/>
          </a:xfrm>
          <a:prstGeom prst="rect">
            <a:avLst/>
          </a:prstGeom>
        </p:spPr>
        <p:txBody>
          <a:bodyPr vert="horz" lIns="91879" tIns="45939" rIns="91879" bIns="45939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8184"/>
            <a:ext cx="2971800" cy="497364"/>
          </a:xfrm>
          <a:prstGeom prst="rect">
            <a:avLst/>
          </a:prstGeom>
        </p:spPr>
        <p:txBody>
          <a:bodyPr vert="horz" lIns="91879" tIns="45939" rIns="91879" bIns="45939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4" y="9448184"/>
            <a:ext cx="2971800" cy="497364"/>
          </a:xfrm>
          <a:prstGeom prst="rect">
            <a:avLst/>
          </a:prstGeom>
        </p:spPr>
        <p:txBody>
          <a:bodyPr vert="horz" lIns="91879" tIns="45939" rIns="91879" bIns="45939" rtlCol="0" anchor="b"/>
          <a:lstStyle>
            <a:lvl1pPr algn="r">
              <a:defRPr sz="1200"/>
            </a:lvl1pPr>
          </a:lstStyle>
          <a:p>
            <a:fld id="{A0534738-20DD-4F36-AC84-6BE15012DC0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20676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534738-20DD-4F36-AC84-6BE15012DC03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7943278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534738-20DD-4F36-AC84-6BE15012DC03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67378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534738-20DD-4F36-AC84-6BE15012DC03}" type="slidenum">
              <a:rPr lang="ru-RU" smtClean="0"/>
              <a:pPr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462066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534738-20DD-4F36-AC84-6BE15012DC03}" type="slidenum">
              <a:rPr lang="ru-RU" smtClean="0"/>
              <a:pPr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3189829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534738-20DD-4F36-AC84-6BE15012DC03}" type="slidenum">
              <a:rPr lang="ru-RU" smtClean="0"/>
              <a:pPr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9198612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534738-20DD-4F36-AC84-6BE15012DC03}" type="slidenum">
              <a:rPr lang="ru-RU" smtClean="0"/>
              <a:pPr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1923050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534738-20DD-4F36-AC84-6BE15012DC03}" type="slidenum">
              <a:rPr lang="ru-RU" smtClean="0"/>
              <a:pPr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072116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534738-20DD-4F36-AC84-6BE15012DC03}" type="slidenum">
              <a:rPr lang="ru-RU" smtClean="0"/>
              <a:pPr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9857526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534738-20DD-4F36-AC84-6BE15012DC03}" type="slidenum">
              <a:rPr lang="ru-RU" smtClean="0"/>
              <a:pPr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498104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534738-20DD-4F36-AC84-6BE15012DC03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273202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534738-20DD-4F36-AC84-6BE15012DC03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784818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534738-20DD-4F36-AC84-6BE15012DC03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167165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8789"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534738-20DD-4F36-AC84-6BE15012DC03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479502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8789"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534738-20DD-4F36-AC84-6BE15012DC03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4795021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534738-20DD-4F36-AC84-6BE15012DC03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3221547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534738-20DD-4F36-AC84-6BE15012DC03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8482848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534738-20DD-4F36-AC84-6BE15012DC03}" type="slidenum">
              <a:rPr lang="ru-RU" smtClean="0"/>
              <a:pPr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7032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5E2B5B-99DF-4279-84FD-9E2C11780ED0}" type="datetimeFigureOut">
              <a:rPr lang="ru-RU" smtClean="0"/>
              <a:pPr/>
              <a:t>01.1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6B8F85-860C-42C5-9788-5F0A0083CC6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3786578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5E2B5B-99DF-4279-84FD-9E2C11780ED0}" type="datetimeFigureOut">
              <a:rPr lang="ru-RU" smtClean="0"/>
              <a:pPr/>
              <a:t>01.1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6B8F85-860C-42C5-9788-5F0A0083CC6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56784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5E2B5B-99DF-4279-84FD-9E2C11780ED0}" type="datetimeFigureOut">
              <a:rPr lang="ru-RU" smtClean="0"/>
              <a:pPr/>
              <a:t>01.1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6B8F85-860C-42C5-9788-5F0A0083CC6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524574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With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431371" y="44624"/>
            <a:ext cx="11328829" cy="108777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Presentation Title</a:t>
            </a:r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66D8112-1D09-44AB-BD25-659ADE5441BA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143933" y="1251816"/>
            <a:ext cx="11912601" cy="0"/>
          </a:xfrm>
          <a:prstGeom prst="line">
            <a:avLst/>
          </a:prstGeom>
          <a:ln w="12700" cmpd="sng">
            <a:solidFill>
              <a:srgbClr val="A0C8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32000" y="1422000"/>
            <a:ext cx="11328400" cy="4968974"/>
          </a:xfrm>
        </p:spPr>
        <p:txBody>
          <a:bodyPr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13" name="Picture 12" descr="Logo_Colour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6427" y="229627"/>
            <a:ext cx="1992141" cy="456649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143340" y="6525344"/>
            <a:ext cx="11912601" cy="0"/>
          </a:xfrm>
          <a:prstGeom prst="line">
            <a:avLst/>
          </a:prstGeom>
          <a:ln w="12700" cmpd="sng">
            <a:solidFill>
              <a:srgbClr val="A0C8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40579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Chart/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esentation Tit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143933" y="1251816"/>
            <a:ext cx="11912601" cy="0"/>
          </a:xfrm>
          <a:prstGeom prst="line">
            <a:avLst/>
          </a:prstGeom>
          <a:ln w="12700" cmpd="sng">
            <a:solidFill>
              <a:srgbClr val="A0C8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6D8112-1D09-44AB-BD25-659ADE5441B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431800" y="1422000"/>
            <a:ext cx="11328400" cy="48879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9" name="Picture 8" descr="Logo_Colour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6427" y="229627"/>
            <a:ext cx="1992141" cy="456649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143340" y="6525344"/>
            <a:ext cx="11912601" cy="0"/>
          </a:xfrm>
          <a:prstGeom prst="line">
            <a:avLst/>
          </a:prstGeom>
          <a:ln w="12700" cmpd="sng">
            <a:solidFill>
              <a:srgbClr val="A0C8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4607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Прямая соединительная линия 7"/>
          <p:cNvCxnSpPr/>
          <p:nvPr userDrawn="1"/>
        </p:nvCxnSpPr>
        <p:spPr>
          <a:xfrm flipH="1" flipV="1">
            <a:off x="0" y="908720"/>
            <a:ext cx="12192000" cy="43002"/>
          </a:xfrm>
          <a:prstGeom prst="line">
            <a:avLst/>
          </a:prstGeom>
          <a:ln w="1905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45548"/>
            <a:ext cx="902713" cy="749251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6400" y="88770"/>
            <a:ext cx="2118627" cy="647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79914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5E2B5B-99DF-4279-84FD-9E2C11780ED0}" type="datetimeFigureOut">
              <a:rPr lang="ru-RU" smtClean="0"/>
              <a:pPr/>
              <a:t>01.1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6B8F85-860C-42C5-9788-5F0A0083CC6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171134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5E2B5B-99DF-4279-84FD-9E2C11780ED0}" type="datetimeFigureOut">
              <a:rPr lang="ru-RU" smtClean="0"/>
              <a:pPr/>
              <a:t>01.12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6B8F85-860C-42C5-9788-5F0A0083CC6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221431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5E2B5B-99DF-4279-84FD-9E2C11780ED0}" type="datetimeFigureOut">
              <a:rPr lang="ru-RU" smtClean="0"/>
              <a:pPr/>
              <a:t>01.12.2020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6B8F85-860C-42C5-9788-5F0A0083CC6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174419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5E2B5B-99DF-4279-84FD-9E2C11780ED0}" type="datetimeFigureOut">
              <a:rPr lang="ru-RU" smtClean="0"/>
              <a:pPr/>
              <a:t>01.12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6B8F85-860C-42C5-9788-5F0A0083CC6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42159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5E2B5B-99DF-4279-84FD-9E2C11780ED0}" type="datetimeFigureOut">
              <a:rPr lang="ru-RU" smtClean="0"/>
              <a:pPr/>
              <a:t>01.12.202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6B8F85-860C-42C5-9788-5F0A0083CC6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178504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5E2B5B-99DF-4279-84FD-9E2C11780ED0}" type="datetimeFigureOut">
              <a:rPr lang="ru-RU" smtClean="0"/>
              <a:pPr/>
              <a:t>01.12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6B8F85-860C-42C5-9788-5F0A0083CC6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417208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5E2B5B-99DF-4279-84FD-9E2C11780ED0}" type="datetimeFigureOut">
              <a:rPr lang="ru-RU" smtClean="0"/>
              <a:pPr/>
              <a:t>01.12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6B8F85-860C-42C5-9788-5F0A0083CC6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74168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2C3BAA1-9274-4306-9DCA-EDAEE7EC80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21706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3" name="think-cell Slide" r:id="rId18" imgW="416" imgH="416" progId="TCLayout.ActiveDocument.1">
                  <p:embed/>
                </p:oleObj>
              </mc:Choice>
              <mc:Fallback>
                <p:oleObj name="think-cell Slide" r:id="rId18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2586D73-6B6E-436A-BD7A-CFF8E3BB1DEA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15E2B5B-99DF-4279-84FD-9E2C11780ED0}" type="datetimeFigureOut">
              <a:rPr lang="ru-RU" smtClean="0"/>
              <a:pPr/>
              <a:t>01.1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86B8F85-860C-42C5-9788-5F0A0083CC6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685904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1.emf"/><Relationship Id="rId4" Type="http://schemas.openxmlformats.org/officeDocument/2006/relationships/image" Target="../media/image30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6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image" Target="../media/image5.png"/><Relationship Id="rId7" Type="http://schemas.openxmlformats.org/officeDocument/2006/relationships/image" Target="../media/image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jpeg"/><Relationship Id="rId11" Type="http://schemas.openxmlformats.org/officeDocument/2006/relationships/image" Target="../media/image13.jpe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6.jpeg"/><Relationship Id="rId9" Type="http://schemas.openxmlformats.org/officeDocument/2006/relationships/image" Target="../media/image11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6.png"/><Relationship Id="rId4" Type="http://schemas.openxmlformats.org/officeDocument/2006/relationships/image" Target="../media/image15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jpeg"/><Relationship Id="rId4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E0E36279-9474-4C14-AC6B-6FCAB9D7F27E}"/>
              </a:ext>
            </a:extLst>
          </p:cNvPr>
          <p:cNvSpPr/>
          <p:nvPr/>
        </p:nvSpPr>
        <p:spPr>
          <a:xfrm>
            <a:off x="155340" y="3429000"/>
            <a:ext cx="1188132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b="1" dirty="0">
                <a:ln>
                  <a:solidFill>
                    <a:schemeClr val="tx1"/>
                  </a:solidFill>
                </a:ln>
                <a:solidFill>
                  <a:srgbClr val="37441C"/>
                </a:solidFill>
              </a:rPr>
              <a:t>Управление проектом «Совершенствование системы бюджетирования обособленного подразделения «</a:t>
            </a:r>
            <a:r>
              <a:rPr lang="ru-RU" sz="3200" b="1" dirty="0" err="1">
                <a:ln>
                  <a:solidFill>
                    <a:schemeClr val="tx1"/>
                  </a:solidFill>
                </a:ln>
                <a:solidFill>
                  <a:srgbClr val="37441C"/>
                </a:solidFill>
              </a:rPr>
              <a:t>Сердобское</a:t>
            </a:r>
            <a:r>
              <a:rPr lang="ru-RU" sz="3200" b="1" dirty="0">
                <a:ln>
                  <a:solidFill>
                    <a:schemeClr val="tx1"/>
                  </a:solidFill>
                </a:ln>
                <a:solidFill>
                  <a:srgbClr val="37441C"/>
                </a:solidFill>
              </a:rPr>
              <a:t>» ООО «</a:t>
            </a:r>
            <a:r>
              <a:rPr lang="ru-RU" sz="3200" b="1" dirty="0" err="1">
                <a:ln>
                  <a:solidFill>
                    <a:schemeClr val="tx1"/>
                  </a:solidFill>
                </a:ln>
                <a:solidFill>
                  <a:srgbClr val="37441C"/>
                </a:solidFill>
              </a:rPr>
              <a:t>Пачелмское</a:t>
            </a:r>
            <a:r>
              <a:rPr lang="ru-RU" sz="3200" b="1" dirty="0">
                <a:ln>
                  <a:solidFill>
                    <a:schemeClr val="tx1"/>
                  </a:solidFill>
                </a:ln>
                <a:solidFill>
                  <a:srgbClr val="37441C"/>
                </a:solidFill>
              </a:rPr>
              <a:t> хозяйство»»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140B220-246C-4F05-8350-8CC0C1C35B3C}"/>
              </a:ext>
            </a:extLst>
          </p:cNvPr>
          <p:cNvSpPr txBox="1"/>
          <p:nvPr/>
        </p:nvSpPr>
        <p:spPr>
          <a:xfrm>
            <a:off x="4547827" y="2708920"/>
            <a:ext cx="309634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/>
              <a:t>Выпускная работа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D00DD51-2FA0-4707-81E9-8B4CBA2F3B56}"/>
              </a:ext>
            </a:extLst>
          </p:cNvPr>
          <p:cNvSpPr txBox="1"/>
          <p:nvPr/>
        </p:nvSpPr>
        <p:spPr>
          <a:xfrm>
            <a:off x="7843950" y="5313061"/>
            <a:ext cx="434805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втор: Ващенко А.Ю.</a:t>
            </a:r>
          </a:p>
          <a:p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ь: Джазовская И.Н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35FFBAB-39B3-40C3-82E1-E7A67CBC23C6}"/>
              </a:ext>
            </a:extLst>
          </p:cNvPr>
          <p:cNvSpPr txBox="1"/>
          <p:nvPr/>
        </p:nvSpPr>
        <p:spPr>
          <a:xfrm>
            <a:off x="5266285" y="6417874"/>
            <a:ext cx="165942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енза 20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0</a:t>
            </a:r>
            <a:endParaRPr lang="ru-RU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3513BBB3-C654-4E81-858F-4AF304B53D03}"/>
              </a:ext>
            </a:extLst>
          </p:cNvPr>
          <p:cNvSpPr/>
          <p:nvPr/>
        </p:nvSpPr>
        <p:spPr>
          <a:xfrm>
            <a:off x="155340" y="255460"/>
            <a:ext cx="11825454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ИНИСТЕРСТВО НАУКИ И ВЫСШЕГО ОБРАЗОВАНИЯ РОССИЙСКОЙ ФЕДЕРАЦИИ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spcAft>
                <a:spcPts val="0"/>
              </a:spcAft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ензенский государственный университет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spcAft>
                <a:spcPts val="0"/>
              </a:spcAft>
            </a:pP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spcAft>
                <a:spcPts val="0"/>
              </a:spcAft>
            </a:pPr>
            <a:r>
              <a:rPr lang="x-none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жотраслевой региональный центр повышения квалификации и дистанционного образования (МРЦПК и ДО)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spcAft>
                <a:spcPts val="0"/>
              </a:spcAft>
            </a:pPr>
            <a:r>
              <a:rPr lang="x-none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осударственная программа подготовки управленческих кадров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spcAft>
                <a:spcPts val="0"/>
              </a:spcAft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ля организаций народного хозяйства РФ</a:t>
            </a:r>
          </a:p>
        </p:txBody>
      </p:sp>
    </p:spTree>
    <p:extLst>
      <p:ext uri="{BB962C8B-B14F-4D97-AF65-F5344CB8AC3E}">
        <p14:creationId xmlns:p14="http://schemas.microsoft.com/office/powerpoint/2010/main" val="358087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615221ED-76C5-4F90-9F98-4E1F21A0C4D2}"/>
              </a:ext>
            </a:extLst>
          </p:cNvPr>
          <p:cNvSpPr/>
          <p:nvPr/>
        </p:nvSpPr>
        <p:spPr>
          <a:xfrm>
            <a:off x="1415480" y="116632"/>
            <a:ext cx="813690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b="1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</a:rPr>
              <a:t>Диаграмма </a:t>
            </a:r>
            <a:r>
              <a:rPr lang="ru-RU" sz="3600" b="1" dirty="0" err="1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</a:rPr>
              <a:t>Ганта</a:t>
            </a:r>
            <a:endParaRPr lang="ru-RU" sz="36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93457574-F2C3-4B6C-AA1A-2DBA92E41795}"/>
              </a:ext>
            </a:extLst>
          </p:cNvPr>
          <p:cNvPicPr/>
          <p:nvPr/>
        </p:nvPicPr>
        <p:blipFill rotWithShape="1">
          <a:blip r:embed="rId3"/>
          <a:srcRect l="195" t="21642" r="1545" b="7202"/>
          <a:stretch/>
        </p:blipFill>
        <p:spPr bwMode="auto">
          <a:xfrm>
            <a:off x="0" y="980728"/>
            <a:ext cx="12192000" cy="587727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63077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8EE7E24A-0A4E-494C-B802-C8CD83E84BF6}"/>
              </a:ext>
            </a:extLst>
          </p:cNvPr>
          <p:cNvSpPr/>
          <p:nvPr/>
        </p:nvSpPr>
        <p:spPr>
          <a:xfrm>
            <a:off x="1415480" y="129307"/>
            <a:ext cx="813690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b="1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</a:rPr>
              <a:t>Сетевой график (фрагмент)</a:t>
            </a:r>
            <a:endParaRPr lang="ru-RU" sz="36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F1A32FC3-9D1A-420F-87F8-0540DC1971A0}"/>
              </a:ext>
            </a:extLst>
          </p:cNvPr>
          <p:cNvPicPr/>
          <p:nvPr/>
        </p:nvPicPr>
        <p:blipFill rotWithShape="1">
          <a:blip r:embed="rId3"/>
          <a:srcRect t="22851" r="1167" b="7715"/>
          <a:stretch/>
        </p:blipFill>
        <p:spPr bwMode="auto">
          <a:xfrm>
            <a:off x="5118" y="1124744"/>
            <a:ext cx="12186882" cy="554461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116186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8EE7E24A-0A4E-494C-B802-C8CD83E84BF6}"/>
              </a:ext>
            </a:extLst>
          </p:cNvPr>
          <p:cNvSpPr/>
          <p:nvPr/>
        </p:nvSpPr>
        <p:spPr>
          <a:xfrm>
            <a:off x="1379476" y="118373"/>
            <a:ext cx="813690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b="1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</a:rPr>
              <a:t>Смета проекта</a:t>
            </a:r>
            <a:endParaRPr lang="ru-RU" sz="36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pic>
        <p:nvPicPr>
          <p:cNvPr id="8" name="Рисунок 7" descr="Изображение выглядит как внутренний, сидит, компьютер, клавиатура&#10;&#10;Автоматически созданное описание">
            <a:extLst>
              <a:ext uri="{FF2B5EF4-FFF2-40B4-BE49-F238E27FC236}">
                <a16:creationId xmlns:a16="http://schemas.microsoft.com/office/drawing/2014/main" id="{516F4330-B12E-47FA-BD95-1B9B1D78FAD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8" t="5886" r="-398" b="-539"/>
          <a:stretch/>
        </p:blipFill>
        <p:spPr>
          <a:xfrm>
            <a:off x="6931094" y="2062264"/>
            <a:ext cx="5170572" cy="3708732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2080B382-7542-4D75-A4F9-9D4AB5C22E77}"/>
              </a:ext>
            </a:extLst>
          </p:cNvPr>
          <p:cNvPicPr/>
          <p:nvPr/>
        </p:nvPicPr>
        <p:blipFill rotWithShape="1">
          <a:blip r:embed="rId4"/>
          <a:srcRect l="7436" t="17980" r="56438" b="13978"/>
          <a:stretch/>
        </p:blipFill>
        <p:spPr bwMode="auto">
          <a:xfrm>
            <a:off x="1127448" y="974943"/>
            <a:ext cx="5803646" cy="5883057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10570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8EE7E24A-0A4E-494C-B802-C8CD83E84BF6}"/>
              </a:ext>
            </a:extLst>
          </p:cNvPr>
          <p:cNvSpPr/>
          <p:nvPr/>
        </p:nvSpPr>
        <p:spPr>
          <a:xfrm>
            <a:off x="1415480" y="112276"/>
            <a:ext cx="813690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</a:rPr>
              <a:t>Критерии оценки эффективности проекта</a:t>
            </a:r>
            <a:endParaRPr lang="ru-RU" sz="32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4279D3D5-DFBC-4809-9B18-24525C668B2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7597" t="19535" r="11610" b="41596"/>
          <a:stretch/>
        </p:blipFill>
        <p:spPr>
          <a:xfrm>
            <a:off x="380122" y="1412776"/>
            <a:ext cx="11548526" cy="4968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1354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8EE7E24A-0A4E-494C-B802-C8CD83E84BF6}"/>
              </a:ext>
            </a:extLst>
          </p:cNvPr>
          <p:cNvSpPr/>
          <p:nvPr/>
        </p:nvSpPr>
        <p:spPr>
          <a:xfrm>
            <a:off x="1379476" y="118373"/>
            <a:ext cx="853294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b="1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</a:rPr>
              <a:t>Расчет экономической эффективности</a:t>
            </a:r>
            <a:endParaRPr lang="ru-RU" sz="36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8CFB8C34-F349-4D01-B35D-1D61D36C14CE}"/>
              </a:ext>
            </a:extLst>
          </p:cNvPr>
          <p:cNvSpPr/>
          <p:nvPr/>
        </p:nvSpPr>
        <p:spPr>
          <a:xfrm>
            <a:off x="234564" y="4407623"/>
            <a:ext cx="541138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/>
              <a:t>Экономия, связанная с повышением производительности труда пользователя Р</a:t>
            </a:r>
            <a:r>
              <a:rPr lang="en-US" dirty="0"/>
              <a:t>,</a:t>
            </a:r>
            <a:r>
              <a:rPr lang="ru-RU" dirty="0"/>
              <a:t> определяется по формуле: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7D7B2801-B81D-4F4C-85E0-9FAA31D26B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6842" y="5229200"/>
            <a:ext cx="1784320" cy="789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67CA7B4-65A8-49B7-8ACE-AEBC13D720EE}"/>
              </a:ext>
            </a:extLst>
          </p:cNvPr>
          <p:cNvSpPr/>
          <p:nvPr/>
        </p:nvSpPr>
        <p:spPr>
          <a:xfrm>
            <a:off x="357621" y="5797639"/>
            <a:ext cx="666708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где</a:t>
            </a:r>
          </a:p>
          <a:p>
            <a:r>
              <a:rPr lang="ru-RU" dirty="0" err="1"/>
              <a:t>Pi</a:t>
            </a:r>
            <a:r>
              <a:rPr lang="ru-RU" dirty="0"/>
              <a:t> - повышение производительности труда (в %);</a:t>
            </a:r>
          </a:p>
          <a:p>
            <a:r>
              <a:rPr lang="ru-RU" dirty="0" err="1"/>
              <a:t>Zп</a:t>
            </a:r>
            <a:r>
              <a:rPr lang="ru-RU" dirty="0"/>
              <a:t> - среднегодовая заработная плата пользователя. </a:t>
            </a: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691DD3F7-1D96-47DF-99BD-E8A1E51FA1D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4564" y="1023028"/>
            <a:ext cx="5411386" cy="3302813"/>
          </a:xfrm>
          <a:prstGeom prst="rect">
            <a:avLst/>
          </a:prstGeom>
        </p:spPr>
      </p:pic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35991B16-3F42-4234-8FCA-0BB0E4BB8E8E}"/>
              </a:ext>
            </a:extLst>
          </p:cNvPr>
          <p:cNvSpPr/>
          <p:nvPr/>
        </p:nvSpPr>
        <p:spPr>
          <a:xfrm>
            <a:off x="6476837" y="1353341"/>
            <a:ext cx="5289121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/>
              <a:t>Потратив 807,5 тыс. руб., получаем экономию за год в 1 428 тыс. руб.  за счет увеличения производительности </a:t>
            </a:r>
            <a:r>
              <a:rPr lang="ru-RU" sz="2400" b="1"/>
              <a:t>труда сотрудников</a:t>
            </a:r>
            <a:endParaRPr lang="ru-RU" sz="2400" b="1" dirty="0"/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748C18A7-9CC9-4908-9A38-7BD3A514726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63817" y="3511639"/>
            <a:ext cx="5715162" cy="3114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9428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8EE7E24A-0A4E-494C-B802-C8CD83E84BF6}"/>
              </a:ext>
            </a:extLst>
          </p:cNvPr>
          <p:cNvSpPr/>
          <p:nvPr/>
        </p:nvSpPr>
        <p:spPr>
          <a:xfrm>
            <a:off x="1343472" y="-78874"/>
            <a:ext cx="8136904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</a:rPr>
              <a:t>Риски проекта и способы их минимизации или устранения</a:t>
            </a:r>
            <a:endParaRPr lang="ru-RU" sz="32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9E14EE38-444C-4B32-A75C-839DABC1435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2420888"/>
            <a:ext cx="2711624" cy="2873096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1C7FEC97-177E-446E-8A54-9947ECFA31B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9329" t="28991" r="24603" b="12455"/>
          <a:stretch/>
        </p:blipFill>
        <p:spPr>
          <a:xfrm>
            <a:off x="3575719" y="967770"/>
            <a:ext cx="8280921" cy="5917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9889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8EE7E24A-0A4E-494C-B802-C8CD83E84BF6}"/>
              </a:ext>
            </a:extLst>
          </p:cNvPr>
          <p:cNvSpPr/>
          <p:nvPr/>
        </p:nvSpPr>
        <p:spPr>
          <a:xfrm>
            <a:off x="1415480" y="188640"/>
            <a:ext cx="813690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</a:rPr>
              <a:t>Место проекта в цифровизации предприятия</a:t>
            </a:r>
            <a:endParaRPr lang="ru-RU" sz="28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0989DADE-4EAF-4410-ADAF-A774C5671AB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2322" t="25419" r="20469" b="23737"/>
          <a:stretch/>
        </p:blipFill>
        <p:spPr>
          <a:xfrm>
            <a:off x="2317703" y="1052657"/>
            <a:ext cx="7556594" cy="5805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2312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08D4BB96-B18B-4308-B20B-022F844E3411}"/>
              </a:ext>
            </a:extLst>
          </p:cNvPr>
          <p:cNvSpPr/>
          <p:nvPr/>
        </p:nvSpPr>
        <p:spPr>
          <a:xfrm>
            <a:off x="-815798" y="764704"/>
            <a:ext cx="8495973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6600" b="1" dirty="0">
                <a:solidFill>
                  <a:schemeClr val="accent3">
                    <a:lumMod val="50000"/>
                  </a:schemeClr>
                </a:solidFill>
              </a:rPr>
              <a:t>Благодарю за внимание!</a:t>
            </a:r>
          </a:p>
        </p:txBody>
      </p:sp>
      <p:pic>
        <p:nvPicPr>
          <p:cNvPr id="5" name="Рисунок 25" descr="COW-02-MB0002-01P.JPG">
            <a:extLst>
              <a:ext uri="{FF2B5EF4-FFF2-40B4-BE49-F238E27FC236}">
                <a16:creationId xmlns:a16="http://schemas.microsoft.com/office/drawing/2014/main" id="{C534A9A4-0ADA-45E7-8EEB-41396BED36D7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271464" y="2741162"/>
            <a:ext cx="3998387" cy="4116838"/>
          </a:xfrm>
          <a:prstGeom prst="rect">
            <a:avLst/>
          </a:prstGeom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48AF8841-71A3-419B-B974-7322C84F7248}"/>
              </a:ext>
            </a:extLst>
          </p:cNvPr>
          <p:cNvSpPr/>
          <p:nvPr/>
        </p:nvSpPr>
        <p:spPr>
          <a:xfrm>
            <a:off x="6406120" y="4509120"/>
            <a:ext cx="5474041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2400" dirty="0">
                <a:latin typeface="Calibri" pitchFamily="34" charset="0"/>
              </a:rPr>
              <a:t>Презентацию подготовила </a:t>
            </a:r>
            <a:endParaRPr lang="en-US" sz="2400" dirty="0">
              <a:latin typeface="Calibri" pitchFamily="34" charset="0"/>
            </a:endParaRPr>
          </a:p>
          <a:p>
            <a:pPr algn="r"/>
            <a:r>
              <a:rPr lang="ru-RU" sz="2400" dirty="0">
                <a:latin typeface="Calibri" pitchFamily="34" charset="0"/>
              </a:rPr>
              <a:t>Ващенко Алена Юрьевна</a:t>
            </a:r>
          </a:p>
          <a:p>
            <a:pPr algn="r"/>
            <a:r>
              <a:rPr lang="ru-RU" sz="2400" dirty="0">
                <a:latin typeface="Calibri" pitchFamily="34" charset="0"/>
              </a:rPr>
              <a:t>Мобильный телефон: +7 (987) 527-77-75</a:t>
            </a:r>
          </a:p>
          <a:p>
            <a:pPr algn="r"/>
            <a:r>
              <a:rPr lang="ru-RU" sz="2400" dirty="0">
                <a:latin typeface="Calibri" pitchFamily="34" charset="0"/>
              </a:rPr>
              <a:t>Рабочий телефон: +7 (8412) 205-13</a:t>
            </a:r>
            <a:r>
              <a:rPr lang="en-US" sz="2400" dirty="0">
                <a:latin typeface="Calibri" pitchFamily="34" charset="0"/>
              </a:rPr>
              <a:t>3</a:t>
            </a:r>
            <a:endParaRPr lang="ru-RU" sz="2400" dirty="0">
              <a:latin typeface="Calibri" pitchFamily="34" charset="0"/>
            </a:endParaRPr>
          </a:p>
          <a:p>
            <a:pPr algn="r"/>
            <a:r>
              <a:rPr lang="en-US" sz="2400" dirty="0">
                <a:latin typeface="Calibri" pitchFamily="34" charset="0"/>
              </a:rPr>
              <a:t>E-mail</a:t>
            </a:r>
            <a:r>
              <a:rPr lang="ru-RU" sz="2400" dirty="0">
                <a:latin typeface="Calibri" pitchFamily="34" charset="0"/>
              </a:rPr>
              <a:t>: </a:t>
            </a:r>
            <a:r>
              <a:rPr lang="en-US" sz="2400" dirty="0">
                <a:latin typeface="Calibri" pitchFamily="34" charset="0"/>
              </a:rPr>
              <a:t>a.istrashkina@rusmolco.com</a:t>
            </a:r>
            <a:endParaRPr lang="ru-RU" sz="2400"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033DCFD3-61E2-4541-91A5-2ABAD6CFA0EE}"/>
              </a:ext>
            </a:extLst>
          </p:cNvPr>
          <p:cNvPicPr/>
          <p:nvPr/>
        </p:nvPicPr>
        <p:blipFill rotWithShape="1">
          <a:blip r:embed="rId4"/>
          <a:srcRect l="29022" t="35361" r="47248" b="15874"/>
          <a:stretch/>
        </p:blipFill>
        <p:spPr bwMode="auto">
          <a:xfrm>
            <a:off x="8828558" y="1211258"/>
            <a:ext cx="2812058" cy="315384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83312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E84B1E7-3446-437F-857E-00E104B18648}"/>
              </a:ext>
            </a:extLst>
          </p:cNvPr>
          <p:cNvSpPr txBox="1">
            <a:spLocks/>
          </p:cNvSpPr>
          <p:nvPr/>
        </p:nvSpPr>
        <p:spPr>
          <a:xfrm>
            <a:off x="155340" y="332656"/>
            <a:ext cx="11881320" cy="1611852"/>
          </a:xfrm>
          <a:prstGeom prst="rect">
            <a:avLst/>
          </a:prstGeom>
        </p:spPr>
        <p:txBody>
          <a:bodyPr>
            <a:normAutofit fontScale="9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800" b="1" dirty="0">
                <a:solidFill>
                  <a:schemeClr val="accent3">
                    <a:lumMod val="50000"/>
                  </a:schemeClr>
                </a:solidFill>
              </a:rPr>
              <a:t>Цель</a:t>
            </a:r>
          </a:p>
          <a:p>
            <a:endParaRPr lang="en-US" sz="3200" dirty="0">
              <a:solidFill>
                <a:schemeClr val="accent3">
                  <a:lumMod val="50000"/>
                </a:schemeClr>
              </a:solidFill>
            </a:endParaRPr>
          </a:p>
          <a:p>
            <a:r>
              <a:rPr lang="ru-RU" sz="2600" dirty="0"/>
              <a:t>разработать план проекта «Совершенствование системы бюджетирования обособленного подразделения «</a:t>
            </a:r>
            <a:r>
              <a:rPr lang="ru-RU" sz="2600" dirty="0" err="1"/>
              <a:t>Сердобское</a:t>
            </a:r>
            <a:r>
              <a:rPr lang="ru-RU" sz="2600" dirty="0"/>
              <a:t>» ООО «</a:t>
            </a:r>
            <a:r>
              <a:rPr lang="ru-RU" sz="2600" dirty="0" err="1"/>
              <a:t>Пачелмское</a:t>
            </a:r>
            <a:r>
              <a:rPr lang="ru-RU" sz="2600" dirty="0"/>
              <a:t> хозяйство»»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32012489-27AA-4EC3-99AF-ED87E6B49C59}"/>
              </a:ext>
            </a:extLst>
          </p:cNvPr>
          <p:cNvSpPr txBox="1">
            <a:spLocks/>
          </p:cNvSpPr>
          <p:nvPr/>
        </p:nvSpPr>
        <p:spPr>
          <a:xfrm>
            <a:off x="263352" y="2348880"/>
            <a:ext cx="11665296" cy="4769476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ru-RU" b="1" dirty="0">
                <a:solidFill>
                  <a:schemeClr val="accent3">
                    <a:lumMod val="50000"/>
                  </a:schemeClr>
                </a:solidFill>
              </a:rPr>
              <a:t>Задачи дипломного проекта</a:t>
            </a:r>
          </a:p>
          <a:p>
            <a:pPr algn="just">
              <a:buClr>
                <a:schemeClr val="accent3">
                  <a:lumMod val="50000"/>
                </a:schemeClr>
              </a:buClr>
              <a:buFont typeface="Wingdings" panose="05000000000000000000" pitchFamily="2" charset="2"/>
              <a:buChar char="v"/>
            </a:pPr>
            <a:r>
              <a:rPr lang="ru-RU" sz="2400" dirty="0"/>
              <a:t>исследовать теоретические аспекты современного бюджетирования и управления проектами;</a:t>
            </a:r>
            <a:endParaRPr lang="en-US" sz="2400" dirty="0"/>
          </a:p>
          <a:p>
            <a:pPr algn="just">
              <a:buClr>
                <a:schemeClr val="accent3">
                  <a:lumMod val="50000"/>
                </a:schemeClr>
              </a:buClr>
              <a:buFont typeface="Wingdings" panose="05000000000000000000" pitchFamily="2" charset="2"/>
              <a:buChar char="v"/>
            </a:pPr>
            <a:r>
              <a:rPr lang="ru-RU" sz="2400" dirty="0"/>
              <a:t>проанализировать требования к современным системам бюджетирования на предприятиях отрасли;</a:t>
            </a:r>
            <a:endParaRPr lang="en-US" sz="2400" dirty="0"/>
          </a:p>
          <a:p>
            <a:pPr algn="just">
              <a:buClr>
                <a:schemeClr val="accent3">
                  <a:lumMod val="50000"/>
                </a:schemeClr>
              </a:buClr>
              <a:buFont typeface="Wingdings" panose="05000000000000000000" pitchFamily="2" charset="2"/>
              <a:buChar char="v"/>
            </a:pPr>
            <a:r>
              <a:rPr lang="ru-RU" sz="2400" dirty="0"/>
              <a:t>проанализировать текущее состояние системы бюджетирования в обособленном подразделении «</a:t>
            </a:r>
            <a:r>
              <a:rPr lang="ru-RU" sz="2400" dirty="0" err="1"/>
              <a:t>Сердобское</a:t>
            </a:r>
            <a:r>
              <a:rPr lang="ru-RU" sz="2400" dirty="0"/>
              <a:t>» ООО «</a:t>
            </a:r>
            <a:r>
              <a:rPr lang="ru-RU" sz="2400" dirty="0" err="1"/>
              <a:t>Пачелмское</a:t>
            </a:r>
            <a:r>
              <a:rPr lang="ru-RU" sz="2400" dirty="0"/>
              <a:t> хозяйство»;</a:t>
            </a:r>
            <a:endParaRPr lang="en-US" sz="2400" dirty="0"/>
          </a:p>
          <a:p>
            <a:pPr algn="just">
              <a:buClr>
                <a:schemeClr val="accent3">
                  <a:lumMod val="50000"/>
                </a:schemeClr>
              </a:buClr>
              <a:buFont typeface="Wingdings" panose="05000000000000000000" pitchFamily="2" charset="2"/>
              <a:buChar char="v"/>
            </a:pPr>
            <a:r>
              <a:rPr lang="ru-RU" sz="2400" dirty="0"/>
              <a:t>разработать план проекта «Совершенствование системы бюджетирования обособленного подразделения «</a:t>
            </a:r>
            <a:r>
              <a:rPr lang="ru-RU" sz="2400" dirty="0" err="1"/>
              <a:t>Сердобское</a:t>
            </a:r>
            <a:r>
              <a:rPr lang="ru-RU" sz="2400" dirty="0"/>
              <a:t>» ООО «</a:t>
            </a:r>
            <a:r>
              <a:rPr lang="ru-RU" sz="2400" dirty="0" err="1"/>
              <a:t>Пачелмское</a:t>
            </a:r>
            <a:r>
              <a:rPr lang="ru-RU" sz="2400" dirty="0"/>
              <a:t> хозяйство»»</a:t>
            </a:r>
          </a:p>
          <a:p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975904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3" descr="C:\Users\Екатерина Дубинина\Desktop\BukletA4_ 6-7.png">
            <a:extLst>
              <a:ext uri="{FF2B5EF4-FFF2-40B4-BE49-F238E27FC236}">
                <a16:creationId xmlns:a16="http://schemas.microsoft.com/office/drawing/2014/main" id="{90D0121C-EF9A-4A33-B517-882E844CE5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9456" y="1681051"/>
            <a:ext cx="9476989" cy="48274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14">
            <a:extLst>
              <a:ext uri="{FF2B5EF4-FFF2-40B4-BE49-F238E27FC236}">
                <a16:creationId xmlns:a16="http://schemas.microsoft.com/office/drawing/2014/main" id="{FF22334C-36A9-478C-9A77-9F61582130FD}"/>
              </a:ext>
            </a:extLst>
          </p:cNvPr>
          <p:cNvSpPr/>
          <p:nvPr/>
        </p:nvSpPr>
        <p:spPr>
          <a:xfrm>
            <a:off x="9614133" y="1425911"/>
            <a:ext cx="1954701" cy="60277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900" b="1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Татарский </a:t>
            </a:r>
            <a:r>
              <a:rPr lang="ru-RU" sz="900" b="1" dirty="0" err="1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надей</a:t>
            </a:r>
            <a:r>
              <a:rPr lang="ru-RU" sz="900" b="1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- телячья деревня на</a:t>
            </a:r>
            <a:r>
              <a:rPr lang="en-US" sz="900" b="1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3100 </a:t>
            </a:r>
            <a:r>
              <a:rPr lang="ru-RU" sz="900" b="1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лок</a:t>
            </a:r>
          </a:p>
        </p:txBody>
      </p:sp>
      <p:pic>
        <p:nvPicPr>
          <p:cNvPr id="4" name="Picture 26" descr="C:\Users\Екатерина Дубинина\Desktop\Рисунок5.jpg">
            <a:extLst>
              <a:ext uri="{FF2B5EF4-FFF2-40B4-BE49-F238E27FC236}">
                <a16:creationId xmlns:a16="http://schemas.microsoft.com/office/drawing/2014/main" id="{8B59EA32-2B26-4A9C-972F-9682D6A50D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7945" y="5108414"/>
            <a:ext cx="2233041" cy="129796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2">
            <a:extLst>
              <a:ext uri="{FF2B5EF4-FFF2-40B4-BE49-F238E27FC236}">
                <a16:creationId xmlns:a16="http://schemas.microsoft.com/office/drawing/2014/main" id="{45BF7585-2C8D-4A0D-8F2A-8C104C879083}"/>
              </a:ext>
            </a:extLst>
          </p:cNvPr>
          <p:cNvSpPr/>
          <p:nvPr/>
        </p:nvSpPr>
        <p:spPr>
          <a:xfrm>
            <a:off x="9575379" y="6478248"/>
            <a:ext cx="223304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900" b="1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Пионер» - телячья деревня на </a:t>
            </a:r>
            <a:r>
              <a:rPr lang="en-US" sz="900" b="1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00 </a:t>
            </a:r>
            <a:r>
              <a:rPr lang="ru-RU" sz="900" b="1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лок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C165406D-305A-4727-B249-2A2FD1396BD9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9557369" y="1891650"/>
            <a:ext cx="2068230" cy="119719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7" name="Line 15">
            <a:extLst>
              <a:ext uri="{FF2B5EF4-FFF2-40B4-BE49-F238E27FC236}">
                <a16:creationId xmlns:a16="http://schemas.microsoft.com/office/drawing/2014/main" id="{1F60A5EB-4426-4412-9A0A-160204C76FE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0154026" y="3160713"/>
            <a:ext cx="334462" cy="718403"/>
          </a:xfrm>
          <a:prstGeom prst="line">
            <a:avLst/>
          </a:prstGeom>
          <a:noFill/>
          <a:ln w="38100">
            <a:solidFill>
              <a:srgbClr val="1D71B8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pPr>
              <a:defRPr/>
            </a:pPr>
            <a:endParaRPr lang="ru-RU" sz="900">
              <a:solidFill>
                <a:srgbClr val="000000"/>
              </a:solidFill>
            </a:endParaRPr>
          </a:p>
        </p:txBody>
      </p:sp>
      <p:sp>
        <p:nvSpPr>
          <p:cNvPr id="8" name="Line 15">
            <a:extLst>
              <a:ext uri="{FF2B5EF4-FFF2-40B4-BE49-F238E27FC236}">
                <a16:creationId xmlns:a16="http://schemas.microsoft.com/office/drawing/2014/main" id="{37B7F86B-8C63-4CCB-8791-065EFB9B98F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822478" y="4272111"/>
            <a:ext cx="596700" cy="785469"/>
          </a:xfrm>
          <a:prstGeom prst="line">
            <a:avLst/>
          </a:prstGeom>
          <a:noFill/>
          <a:ln w="38100">
            <a:solidFill>
              <a:srgbClr val="0070C0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pPr>
              <a:defRPr/>
            </a:pPr>
            <a:endParaRPr lang="ru-RU" sz="900">
              <a:solidFill>
                <a:srgbClr val="000000"/>
              </a:solidFill>
            </a:endParaRPr>
          </a:p>
        </p:txBody>
      </p:sp>
      <p:sp>
        <p:nvSpPr>
          <p:cNvPr id="9" name="Line 15">
            <a:extLst>
              <a:ext uri="{FF2B5EF4-FFF2-40B4-BE49-F238E27FC236}">
                <a16:creationId xmlns:a16="http://schemas.microsoft.com/office/drawing/2014/main" id="{F4FCB982-D2B8-4D46-BEE7-61A879F80B5E}"/>
              </a:ext>
            </a:extLst>
          </p:cNvPr>
          <p:cNvSpPr>
            <a:spLocks noChangeShapeType="1"/>
          </p:cNvSpPr>
          <p:nvPr/>
        </p:nvSpPr>
        <p:spPr bwMode="auto">
          <a:xfrm>
            <a:off x="3881799" y="4001175"/>
            <a:ext cx="106827" cy="1087987"/>
          </a:xfrm>
          <a:prstGeom prst="line">
            <a:avLst/>
          </a:prstGeom>
          <a:noFill/>
          <a:ln w="38100">
            <a:solidFill>
              <a:srgbClr val="0070C0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pPr>
              <a:defRPr/>
            </a:pPr>
            <a:endParaRPr lang="ru-RU" sz="900">
              <a:solidFill>
                <a:srgbClr val="000000"/>
              </a:solidFill>
            </a:endParaRPr>
          </a:p>
        </p:txBody>
      </p:sp>
      <p:sp>
        <p:nvSpPr>
          <p:cNvPr id="10" name="Text Box 10">
            <a:extLst>
              <a:ext uri="{FF2B5EF4-FFF2-40B4-BE49-F238E27FC236}">
                <a16:creationId xmlns:a16="http://schemas.microsoft.com/office/drawing/2014/main" id="{B097CCDB-6171-43C1-9121-14230B88CF1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5218" y="6370549"/>
            <a:ext cx="1948694" cy="2739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ru-RU" altLang="ru-RU" sz="900" b="1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менная линия</a:t>
            </a:r>
          </a:p>
        </p:txBody>
      </p:sp>
      <p:sp>
        <p:nvSpPr>
          <p:cNvPr id="11" name="Line 15">
            <a:extLst>
              <a:ext uri="{FF2B5EF4-FFF2-40B4-BE49-F238E27FC236}">
                <a16:creationId xmlns:a16="http://schemas.microsoft.com/office/drawing/2014/main" id="{F9203386-6561-469C-83D2-C088CF83D088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2296219" y="3297543"/>
            <a:ext cx="828393" cy="74691"/>
          </a:xfrm>
          <a:prstGeom prst="line">
            <a:avLst/>
          </a:prstGeom>
          <a:noFill/>
          <a:ln w="38100">
            <a:solidFill>
              <a:srgbClr val="1D71B8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pPr>
              <a:defRPr/>
            </a:pPr>
            <a:endParaRPr lang="ru-RU" sz="900">
              <a:solidFill>
                <a:srgbClr val="000000"/>
              </a:solidFill>
            </a:endParaRPr>
          </a:p>
        </p:txBody>
      </p:sp>
      <p:sp>
        <p:nvSpPr>
          <p:cNvPr id="12" name="TextBox 34">
            <a:extLst>
              <a:ext uri="{FF2B5EF4-FFF2-40B4-BE49-F238E27FC236}">
                <a16:creationId xmlns:a16="http://schemas.microsoft.com/office/drawing/2014/main" id="{AE669DFD-3420-463F-83CC-F772C26C951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8740" y="2697634"/>
            <a:ext cx="1906635" cy="4383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ru-RU" altLang="ru-RU" sz="900" b="1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 «</a:t>
            </a:r>
            <a:r>
              <a:rPr lang="ru-RU" altLang="ru-RU" sz="900" b="1" dirty="0" err="1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челмское</a:t>
            </a:r>
            <a:r>
              <a:rPr lang="ru-RU" altLang="ru-RU" sz="900" b="1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- элеватор</a:t>
            </a:r>
          </a:p>
        </p:txBody>
      </p:sp>
      <p:sp>
        <p:nvSpPr>
          <p:cNvPr id="13" name="Прямоугольник 1">
            <a:extLst>
              <a:ext uri="{FF2B5EF4-FFF2-40B4-BE49-F238E27FC236}">
                <a16:creationId xmlns:a16="http://schemas.microsoft.com/office/drawing/2014/main" id="{94E44D33-A9E3-4AA3-BCDD-275074C370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60875" y="6452834"/>
            <a:ext cx="1860571" cy="602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ru-RU" altLang="ru-RU" sz="900" b="1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 «</a:t>
            </a:r>
            <a:r>
              <a:rPr lang="ru-RU" altLang="ru-RU" sz="900" b="1" dirty="0" err="1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шиновка</a:t>
            </a:r>
            <a:r>
              <a:rPr lang="ru-RU" altLang="ru-RU" sz="900" b="1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- молочная ферма на </a:t>
            </a:r>
            <a:r>
              <a:rPr lang="en-US" altLang="ru-RU" sz="900" b="1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600 </a:t>
            </a:r>
            <a:r>
              <a:rPr lang="ru-RU" altLang="ru-RU" sz="900" b="1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йных коров</a:t>
            </a:r>
          </a:p>
        </p:txBody>
      </p:sp>
      <p:sp>
        <p:nvSpPr>
          <p:cNvPr id="14" name="Line 15">
            <a:extLst>
              <a:ext uri="{FF2B5EF4-FFF2-40B4-BE49-F238E27FC236}">
                <a16:creationId xmlns:a16="http://schemas.microsoft.com/office/drawing/2014/main" id="{66848F3C-864F-4155-BC77-7AF07F03E80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646502" y="2028689"/>
            <a:ext cx="1255959" cy="87122"/>
          </a:xfrm>
          <a:prstGeom prst="line">
            <a:avLst/>
          </a:prstGeom>
          <a:noFill/>
          <a:ln w="38100">
            <a:solidFill>
              <a:srgbClr val="1D71B8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pPr>
              <a:defRPr/>
            </a:pPr>
            <a:endParaRPr lang="ru-RU" sz="900">
              <a:solidFill>
                <a:srgbClr val="000000"/>
              </a:solidFill>
            </a:endParaRPr>
          </a:p>
        </p:txBody>
      </p:sp>
      <p:sp>
        <p:nvSpPr>
          <p:cNvPr id="15" name="Line 15">
            <a:extLst>
              <a:ext uri="{FF2B5EF4-FFF2-40B4-BE49-F238E27FC236}">
                <a16:creationId xmlns:a16="http://schemas.microsoft.com/office/drawing/2014/main" id="{5AA50A6F-FE10-4619-B0F4-A6FBFF7999F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932382" y="2160091"/>
            <a:ext cx="949312" cy="541964"/>
          </a:xfrm>
          <a:prstGeom prst="line">
            <a:avLst/>
          </a:prstGeom>
          <a:noFill/>
          <a:ln w="38100">
            <a:solidFill>
              <a:srgbClr val="1D71B8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pPr>
              <a:defRPr/>
            </a:pPr>
            <a:endParaRPr lang="ru-RU" sz="900">
              <a:solidFill>
                <a:srgbClr val="000000"/>
              </a:solidFill>
            </a:endParaRPr>
          </a:p>
        </p:txBody>
      </p:sp>
      <p:sp>
        <p:nvSpPr>
          <p:cNvPr id="16" name="Прямоугольник 14">
            <a:extLst>
              <a:ext uri="{FF2B5EF4-FFF2-40B4-BE49-F238E27FC236}">
                <a16:creationId xmlns:a16="http://schemas.microsoft.com/office/drawing/2014/main" id="{28CA9679-5D8E-4848-97EC-9246BB772A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68008" y="1035968"/>
            <a:ext cx="194669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ru-RU" altLang="ru-RU" sz="900" b="1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стема орошения и удаления навоза</a:t>
            </a:r>
          </a:p>
        </p:txBody>
      </p:sp>
      <p:pic>
        <p:nvPicPr>
          <p:cNvPr id="17" name="Picture 24" descr="C:\Users\Екатерина Дубинина\Desktop\Рисунок3.jpg">
            <a:extLst>
              <a:ext uri="{FF2B5EF4-FFF2-40B4-BE49-F238E27FC236}">
                <a16:creationId xmlns:a16="http://schemas.microsoft.com/office/drawing/2014/main" id="{B2875C5F-8CE7-4E84-B936-7D177B1C03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507" y="5172434"/>
            <a:ext cx="2005639" cy="119456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5" descr="C:\Users\Екатерина Дубинина\Desktop\Рисунок4.jpg">
            <a:extLst>
              <a:ext uri="{FF2B5EF4-FFF2-40B4-BE49-F238E27FC236}">
                <a16:creationId xmlns:a16="http://schemas.microsoft.com/office/drawing/2014/main" id="{3E978D50-184C-4D06-BCB2-4114FB04C3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9254" y="5158125"/>
            <a:ext cx="2068230" cy="125588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2" descr="C:\Users\Екатерина Дубинина\Desktop\Русконтрактор\Наровчат\IMG_02251.jpg">
            <a:extLst>
              <a:ext uri="{FF2B5EF4-FFF2-40B4-BE49-F238E27FC236}">
                <a16:creationId xmlns:a16="http://schemas.microsoft.com/office/drawing/2014/main" id="{B0901719-54B2-4173-83AC-DA05FCEF80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659" y="1299305"/>
            <a:ext cx="2013584" cy="121156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20" name="Line 15">
            <a:extLst>
              <a:ext uri="{FF2B5EF4-FFF2-40B4-BE49-F238E27FC236}">
                <a16:creationId xmlns:a16="http://schemas.microsoft.com/office/drawing/2014/main" id="{79D531F4-75B0-4D4B-9BF1-D29FC77287C9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3095006" y="1505644"/>
            <a:ext cx="849186" cy="386006"/>
          </a:xfrm>
          <a:prstGeom prst="line">
            <a:avLst/>
          </a:prstGeom>
          <a:noFill/>
          <a:ln w="38100">
            <a:solidFill>
              <a:srgbClr val="1D71B8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21" name="Rectangle 1">
            <a:extLst>
              <a:ext uri="{FF2B5EF4-FFF2-40B4-BE49-F238E27FC236}">
                <a16:creationId xmlns:a16="http://schemas.microsoft.com/office/drawing/2014/main" id="{084C3D01-5E3E-4532-A43E-873D695E16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6315" y="960774"/>
            <a:ext cx="2334560" cy="4383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ru-RU" altLang="en-US" sz="900" b="1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Новый комплекс» - молочная ферма на </a:t>
            </a:r>
            <a:r>
              <a:rPr lang="en-US" altLang="en-US" sz="900" b="1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600 </a:t>
            </a:r>
            <a:r>
              <a:rPr lang="ru-RU" altLang="en-US" sz="900" b="1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йных коров</a:t>
            </a:r>
            <a:endParaRPr lang="en-US" altLang="en-US" sz="900" b="1" dirty="0">
              <a:solidFill>
                <a:srgbClr val="003399"/>
              </a:solidFill>
              <a:latin typeface="Arial" panose="020B0604020202020204" pitchFamily="34" charset="0"/>
            </a:endParaRPr>
          </a:p>
        </p:txBody>
      </p:sp>
      <p:pic>
        <p:nvPicPr>
          <p:cNvPr id="22" name="Рисунок 21" descr="rusmolco-5594.jpg">
            <a:extLst>
              <a:ext uri="{FF2B5EF4-FFF2-40B4-BE49-F238E27FC236}">
                <a16:creationId xmlns:a16="http://schemas.microsoft.com/office/drawing/2014/main" id="{B086B1E9-61F9-4E9B-942D-7E7C129164AC}"/>
              </a:ext>
            </a:extLst>
          </p:cNvPr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6002537" y="1338204"/>
            <a:ext cx="2068230" cy="120781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64CE3B4F-A2C2-454A-A571-4DDEE5FCAF3E}"/>
              </a:ext>
            </a:extLst>
          </p:cNvPr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164126" y="2974253"/>
            <a:ext cx="2100095" cy="120545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24" name="Line 15">
            <a:extLst>
              <a:ext uri="{FF2B5EF4-FFF2-40B4-BE49-F238E27FC236}">
                <a16:creationId xmlns:a16="http://schemas.microsoft.com/office/drawing/2014/main" id="{853241CD-87D3-4D46-BB5A-6985ECDD323E}"/>
              </a:ext>
            </a:extLst>
          </p:cNvPr>
          <p:cNvSpPr>
            <a:spLocks noChangeShapeType="1"/>
          </p:cNvSpPr>
          <p:nvPr/>
        </p:nvSpPr>
        <p:spPr bwMode="auto">
          <a:xfrm>
            <a:off x="10194006" y="4643527"/>
            <a:ext cx="582514" cy="393021"/>
          </a:xfrm>
          <a:prstGeom prst="line">
            <a:avLst/>
          </a:prstGeom>
          <a:noFill/>
          <a:ln w="38100">
            <a:solidFill>
              <a:srgbClr val="1D71B8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pPr>
              <a:defRPr/>
            </a:pPr>
            <a:endParaRPr lang="ru-RU" sz="900">
              <a:solidFill>
                <a:srgbClr val="000000"/>
              </a:solidFill>
            </a:endParaRPr>
          </a:p>
        </p:txBody>
      </p:sp>
      <p:sp>
        <p:nvSpPr>
          <p:cNvPr id="25" name="Line 15">
            <a:extLst>
              <a:ext uri="{FF2B5EF4-FFF2-40B4-BE49-F238E27FC236}">
                <a16:creationId xmlns:a16="http://schemas.microsoft.com/office/drawing/2014/main" id="{C89245AD-7126-4E77-A31F-4459C9828DDC}"/>
              </a:ext>
            </a:extLst>
          </p:cNvPr>
          <p:cNvSpPr>
            <a:spLocks noChangeShapeType="1"/>
          </p:cNvSpPr>
          <p:nvPr/>
        </p:nvSpPr>
        <p:spPr bwMode="auto">
          <a:xfrm>
            <a:off x="4226742" y="3778762"/>
            <a:ext cx="2098617" cy="1272876"/>
          </a:xfrm>
          <a:prstGeom prst="line">
            <a:avLst/>
          </a:prstGeom>
          <a:noFill/>
          <a:ln w="38100">
            <a:solidFill>
              <a:srgbClr val="0070C0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pPr>
              <a:defRPr/>
            </a:pPr>
            <a:endParaRPr lang="ru-RU" sz="900">
              <a:solidFill>
                <a:srgbClr val="000000"/>
              </a:solidFill>
            </a:endParaRPr>
          </a:p>
        </p:txBody>
      </p:sp>
      <p:pic>
        <p:nvPicPr>
          <p:cNvPr id="27" name="Рисунок 26" descr="Изображение выглядит как корова, забор, млекопитающее, трава&#10;&#10;Автоматически созданное описание">
            <a:extLst>
              <a:ext uri="{FF2B5EF4-FFF2-40B4-BE49-F238E27FC236}">
                <a16:creationId xmlns:a16="http://schemas.microsoft.com/office/drawing/2014/main" id="{5E7E2D51-2111-4D3B-BB75-82590A3CFB3C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845" y="5116741"/>
            <a:ext cx="2098618" cy="128819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29" name="Прямоугольник 1">
            <a:extLst>
              <a:ext uri="{FF2B5EF4-FFF2-40B4-BE49-F238E27FC236}">
                <a16:creationId xmlns:a16="http://schemas.microsoft.com/office/drawing/2014/main" id="{55B1F9DD-745C-4B70-BA48-2F256050BD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23887" y="6431057"/>
            <a:ext cx="2502338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ru-RU" altLang="ru-RU" sz="1200" b="1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 «</a:t>
            </a:r>
            <a:r>
              <a:rPr lang="ru-RU" altLang="ru-RU" sz="1200" b="1" dirty="0" err="1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рдобское</a:t>
            </a:r>
            <a:r>
              <a:rPr lang="ru-RU" altLang="ru-RU" sz="1200" b="1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- молочная ферма на 5200 дойных коров</a:t>
            </a:r>
          </a:p>
          <a:p>
            <a:pPr algn="ctr">
              <a:spcBef>
                <a:spcPct val="0"/>
              </a:spcBef>
              <a:buFontTx/>
              <a:buNone/>
            </a:pPr>
            <a:endParaRPr lang="ru-RU" altLang="ru-RU" sz="1200" b="1" dirty="0">
              <a:solidFill>
                <a:srgbClr val="0033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B0FA1405-34A3-48F0-9B1D-BA5BEE26DB61}"/>
              </a:ext>
            </a:extLst>
          </p:cNvPr>
          <p:cNvSpPr/>
          <p:nvPr/>
        </p:nvSpPr>
        <p:spPr>
          <a:xfrm>
            <a:off x="1296326" y="148626"/>
            <a:ext cx="835292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Структура группы компаний РУСМОЛКО</a:t>
            </a:r>
            <a:endParaRPr lang="ru-RU" sz="3200" b="1" dirty="0">
              <a:solidFill>
                <a:schemeClr val="accent3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6037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94921F16-5202-4C2D-9E37-DDBDB5E60585}"/>
              </a:ext>
            </a:extLst>
          </p:cNvPr>
          <p:cNvSpPr/>
          <p:nvPr/>
        </p:nvSpPr>
        <p:spPr>
          <a:xfrm>
            <a:off x="924824" y="940475"/>
            <a:ext cx="406989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</a:rPr>
              <a:t>Динамика цен на сырое молоко в РФ</a:t>
            </a:r>
            <a:endParaRPr lang="ru-RU" b="1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861802D5-B9BF-4FE8-B917-8E8765798C37}"/>
              </a:ext>
            </a:extLst>
          </p:cNvPr>
          <p:cNvSpPr/>
          <p:nvPr/>
        </p:nvSpPr>
        <p:spPr>
          <a:xfrm>
            <a:off x="6240016" y="1273984"/>
            <a:ext cx="5749925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latin typeface="Times New Roman" panose="02020603050405020304" pitchFamily="18" charset="0"/>
                <a:ea typeface="Calibri" panose="020F0502020204030204" pitchFamily="34" charset="0"/>
              </a:rPr>
              <a:t>Особенности Пензенского молочного рынка:</a:t>
            </a:r>
          </a:p>
          <a:p>
            <a:pPr marL="285750" indent="-285750">
              <a:buClr>
                <a:schemeClr val="accent3">
                  <a:lumMod val="50000"/>
                </a:schemeClr>
              </a:buClr>
              <a:buFont typeface="Wingdings" panose="05000000000000000000" pitchFamily="2" charset="2"/>
              <a:buChar char="v"/>
            </a:pPr>
            <a:r>
              <a:rPr lang="ru-RU" sz="2000" dirty="0"/>
              <a:t>выгодное географическое положение </a:t>
            </a:r>
          </a:p>
          <a:p>
            <a:pPr marL="285750" indent="-285750">
              <a:buClr>
                <a:schemeClr val="accent3">
                  <a:lumMod val="50000"/>
                </a:schemeClr>
              </a:buClr>
              <a:buFont typeface="Wingdings" panose="05000000000000000000" pitchFamily="2" charset="2"/>
              <a:buChar char="v"/>
            </a:pPr>
            <a:r>
              <a:rPr lang="ru-RU" sz="2000" dirty="0"/>
              <a:t>развитая транспортная инфраструктура </a:t>
            </a:r>
          </a:p>
          <a:p>
            <a:pPr marL="285750" indent="-285750">
              <a:buClr>
                <a:schemeClr val="accent3">
                  <a:lumMod val="50000"/>
                </a:schemeClr>
              </a:buClr>
              <a:buFont typeface="Wingdings" panose="05000000000000000000" pitchFamily="2" charset="2"/>
              <a:buChar char="v"/>
            </a:pPr>
            <a:r>
              <a:rPr lang="ru-RU" sz="2000" dirty="0"/>
              <a:t>зона пересечения Центрального, Южного и Приволжского федеральных округов</a:t>
            </a:r>
          </a:p>
          <a:p>
            <a:endParaRPr lang="ru-RU" sz="2000" dirty="0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17BAC72B-524E-4057-B888-7667F79BCEAC}"/>
              </a:ext>
            </a:extLst>
          </p:cNvPr>
          <p:cNvSpPr/>
          <p:nvPr/>
        </p:nvSpPr>
        <p:spPr>
          <a:xfrm>
            <a:off x="1396230" y="3789040"/>
            <a:ext cx="4390635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>
              <a:spcAft>
                <a:spcPts val="0"/>
              </a:spcAft>
            </a:pPr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Молокоперерабатывающая отрасль региона:</a:t>
            </a:r>
          </a:p>
          <a:p>
            <a:pPr marL="457200">
              <a:spcAft>
                <a:spcPts val="0"/>
              </a:spcAft>
            </a:pPr>
            <a:endParaRPr lang="ru-RU" b="1" dirty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42950" indent="-285750" algn="just">
              <a:spcAft>
                <a:spcPts val="0"/>
              </a:spcAft>
              <a:buClr>
                <a:schemeClr val="accent3">
                  <a:lumMod val="50000"/>
                </a:schemeClr>
              </a:buClr>
              <a:buFont typeface="Wingdings" panose="05000000000000000000" pitchFamily="2" charset="2"/>
              <a:buChar char="v"/>
            </a:pP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ГК </a:t>
            </a:r>
            <a:r>
              <a:rPr lang="ru-RU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амате</a:t>
            </a: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(ОАО Молочный комбинат Пензенский, ООО </a:t>
            </a:r>
            <a:r>
              <a:rPr lang="ru-RU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Белинскмолоко</a:t>
            </a: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  <a:p>
            <a:pPr marL="742950" indent="-285750" algn="just">
              <a:spcAft>
                <a:spcPts val="0"/>
              </a:spcAft>
              <a:buClr>
                <a:schemeClr val="accent3">
                  <a:lumMod val="50000"/>
                </a:schemeClr>
              </a:buClr>
              <a:buFont typeface="Wingdings" panose="05000000000000000000" pitchFamily="2" charset="2"/>
              <a:buChar char="v"/>
            </a:pP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ОО </a:t>
            </a:r>
            <a:r>
              <a:rPr lang="ru-RU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Мегамастер</a:t>
            </a:r>
            <a:endParaRPr lang="ru-RU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42950" indent="-285750" algn="just">
              <a:spcAft>
                <a:spcPts val="0"/>
              </a:spcAft>
              <a:buClr>
                <a:schemeClr val="accent3">
                  <a:lumMod val="50000"/>
                </a:schemeClr>
              </a:buClr>
              <a:buFont typeface="Wingdings" panose="05000000000000000000" pitchFamily="2" charset="2"/>
              <a:buChar char="v"/>
            </a:pP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ОО Новая </a:t>
            </a:r>
            <a:r>
              <a:rPr lang="ru-RU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изида</a:t>
            </a:r>
            <a:endParaRPr lang="ru-RU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42950" indent="-285750" algn="just">
              <a:spcAft>
                <a:spcPts val="0"/>
              </a:spcAft>
              <a:buClr>
                <a:schemeClr val="accent3">
                  <a:lumMod val="50000"/>
                </a:schemeClr>
              </a:buClr>
              <a:buFont typeface="Wingdings" panose="05000000000000000000" pitchFamily="2" charset="2"/>
              <a:buChar char="v"/>
            </a:pP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ОО Мечта</a:t>
            </a:r>
            <a:endParaRPr lang="ru-RU" sz="14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B5AEF923-5802-44BA-A3BC-FF986A4BAF64}"/>
              </a:ext>
            </a:extLst>
          </p:cNvPr>
          <p:cNvSpPr/>
          <p:nvPr/>
        </p:nvSpPr>
        <p:spPr>
          <a:xfrm>
            <a:off x="7608168" y="3809880"/>
            <a:ext cx="4248472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>
              <a:spcAft>
                <a:spcPts val="0"/>
              </a:spcAft>
            </a:pPr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рупнейшие производители сырого молока в ПО:</a:t>
            </a:r>
          </a:p>
          <a:p>
            <a:pPr marL="457200" algn="just">
              <a:spcAft>
                <a:spcPts val="0"/>
              </a:spcAft>
            </a:pPr>
            <a:endParaRPr lang="ru-RU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42950" indent="-285750" algn="just">
              <a:spcAft>
                <a:spcPts val="0"/>
              </a:spcAft>
              <a:buClr>
                <a:schemeClr val="accent3">
                  <a:lumMod val="50000"/>
                </a:schemeClr>
              </a:buClr>
              <a:buFont typeface="Wingdings" panose="05000000000000000000" pitchFamily="2" charset="2"/>
              <a:buChar char="v"/>
            </a:pP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ГК </a:t>
            </a:r>
            <a:r>
              <a:rPr lang="ru-RU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усмолко</a:t>
            </a:r>
            <a:endParaRPr lang="ru-RU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42950" indent="-285750" algn="just">
              <a:spcAft>
                <a:spcPts val="0"/>
              </a:spcAft>
              <a:buClr>
                <a:schemeClr val="accent3">
                  <a:lumMod val="50000"/>
                </a:schemeClr>
              </a:buClr>
              <a:buFont typeface="Wingdings" panose="05000000000000000000" pitchFamily="2" charset="2"/>
              <a:buChar char="v"/>
            </a:pP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ГК Черкизово</a:t>
            </a:r>
          </a:p>
          <a:p>
            <a:pPr marL="742950" indent="-285750" algn="just">
              <a:spcAft>
                <a:spcPts val="0"/>
              </a:spcAft>
              <a:buClr>
                <a:schemeClr val="accent3">
                  <a:lumMod val="50000"/>
                </a:schemeClr>
              </a:buClr>
              <a:buFont typeface="Wingdings" panose="05000000000000000000" pitchFamily="2" charset="2"/>
              <a:buChar char="v"/>
            </a:pP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ЗАО Константиново</a:t>
            </a:r>
          </a:p>
          <a:p>
            <a:pPr marL="742950" indent="-285750" algn="just">
              <a:spcAft>
                <a:spcPts val="0"/>
              </a:spcAft>
              <a:buClr>
                <a:schemeClr val="accent3">
                  <a:lumMod val="50000"/>
                </a:schemeClr>
              </a:buClr>
              <a:buFont typeface="Wingdings" panose="05000000000000000000" pitchFamily="2" charset="2"/>
              <a:buChar char="v"/>
            </a:pP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ПК Петровский</a:t>
            </a:r>
          </a:p>
          <a:p>
            <a:pPr marL="742950" indent="-285750" algn="just">
              <a:spcAft>
                <a:spcPts val="0"/>
              </a:spcAft>
              <a:buClr>
                <a:schemeClr val="accent3">
                  <a:lumMod val="50000"/>
                </a:schemeClr>
              </a:buClr>
              <a:buFont typeface="Wingdings" panose="05000000000000000000" pitchFamily="2" charset="2"/>
              <a:buChar char="v"/>
            </a:pP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АО Учебно-опытное хозяйство РАМЗАЙ</a:t>
            </a:r>
          </a:p>
          <a:p>
            <a:pPr marL="742950" indent="-285750" algn="just">
              <a:spcAft>
                <a:spcPts val="0"/>
              </a:spcAft>
              <a:buClr>
                <a:schemeClr val="accent3">
                  <a:lumMod val="50000"/>
                </a:schemeClr>
              </a:buClr>
              <a:buFont typeface="Wingdings" panose="05000000000000000000" pitchFamily="2" charset="2"/>
              <a:buChar char="v"/>
            </a:pP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ОО </a:t>
            </a:r>
            <a:r>
              <a:rPr lang="ru-RU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ертуновское</a:t>
            </a: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endParaRPr lang="ru-RU" sz="14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29974F08-0CB5-4D57-A69B-16043B52E38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63" y="4007553"/>
            <a:ext cx="1857375" cy="2466975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937675AB-93E2-46C8-9CC9-E943143FFBD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4054970"/>
            <a:ext cx="1971675" cy="2324100"/>
          </a:xfrm>
          <a:prstGeom prst="rect">
            <a:avLst/>
          </a:prstGeom>
        </p:spPr>
      </p:pic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0C1152ED-3E9B-4709-AF0C-B71BD6A35775}"/>
              </a:ext>
            </a:extLst>
          </p:cNvPr>
          <p:cNvSpPr/>
          <p:nvPr/>
        </p:nvSpPr>
        <p:spPr>
          <a:xfrm>
            <a:off x="1296326" y="148626"/>
            <a:ext cx="835292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Анализ молочной отрасли</a:t>
            </a:r>
            <a:endParaRPr lang="ru-RU" sz="32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8028FA26-BB38-4194-934C-EB91B775733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99" t="8637" r="1966" b="5394"/>
          <a:stretch/>
        </p:blipFill>
        <p:spPr bwMode="auto">
          <a:xfrm>
            <a:off x="123264" y="1284874"/>
            <a:ext cx="5828720" cy="24321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43740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6D8C5B2B-2F14-401A-AA5C-708EC6E6B8F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5825" t="34243" r="12791" b="26889"/>
          <a:stretch/>
        </p:blipFill>
        <p:spPr>
          <a:xfrm>
            <a:off x="78296" y="1303356"/>
            <a:ext cx="7306389" cy="3297765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CA6028C3-D6A0-4BDA-A6A6-729C58056AE9}"/>
              </a:ext>
            </a:extLst>
          </p:cNvPr>
          <p:cNvSpPr/>
          <p:nvPr/>
        </p:nvSpPr>
        <p:spPr>
          <a:xfrm>
            <a:off x="1343472" y="-73508"/>
            <a:ext cx="828092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Схема текущего бизнес-процесса «бюджетирование»</a:t>
            </a:r>
            <a:endParaRPr lang="ru-RU" sz="32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pic>
        <p:nvPicPr>
          <p:cNvPr id="42" name="Рисунок 41">
            <a:extLst>
              <a:ext uri="{FF2B5EF4-FFF2-40B4-BE49-F238E27FC236}">
                <a16:creationId xmlns:a16="http://schemas.microsoft.com/office/drawing/2014/main" id="{49084406-5999-4CC9-9E52-083BF214E34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8818" t="50000" r="28738" b="23738"/>
          <a:stretch/>
        </p:blipFill>
        <p:spPr>
          <a:xfrm>
            <a:off x="7562798" y="3284984"/>
            <a:ext cx="4550906" cy="2994017"/>
          </a:xfrm>
          <a:prstGeom prst="rect">
            <a:avLst/>
          </a:prstGeom>
        </p:spPr>
      </p:pic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F783A9C6-51B4-4BBC-86CF-26619D442F41}"/>
              </a:ext>
            </a:extLst>
          </p:cNvPr>
          <p:cNvSpPr/>
          <p:nvPr/>
        </p:nvSpPr>
        <p:spPr>
          <a:xfrm>
            <a:off x="8038051" y="1303356"/>
            <a:ext cx="360040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Схема движения организации в направлении цифровой трансформации</a:t>
            </a:r>
            <a:endParaRPr lang="ru-RU" sz="2000" b="1" dirty="0"/>
          </a:p>
        </p:txBody>
      </p:sp>
      <p:pic>
        <p:nvPicPr>
          <p:cNvPr id="44" name="Рисунок 12" descr="C:\Users\istrashkina\Desktop\-.jpg">
            <a:extLst>
              <a:ext uri="{FF2B5EF4-FFF2-40B4-BE49-F238E27FC236}">
                <a16:creationId xmlns:a16="http://schemas.microsoft.com/office/drawing/2014/main" id="{DDA7B143-6F6A-4556-856B-94CC3773309E}"/>
              </a:ext>
            </a:extLst>
          </p:cNvPr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304" y="5013176"/>
            <a:ext cx="2417304" cy="1772816"/>
          </a:xfrm>
          <a:prstGeom prst="rect">
            <a:avLst/>
          </a:prstGeom>
          <a:noFill/>
          <a:ln>
            <a:noFill/>
          </a:ln>
          <a:scene3d>
            <a:camera prst="orthographicFront">
              <a:rot lat="0" lon="0" rev="0"/>
            </a:camera>
            <a:lightRig rig="threePt" dir="t"/>
          </a:scene3d>
        </p:spPr>
      </p:pic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0D4BC56C-4A00-4AA9-B7A3-4740730FE7A8}"/>
              </a:ext>
            </a:extLst>
          </p:cNvPr>
          <p:cNvCxnSpPr/>
          <p:nvPr/>
        </p:nvCxnSpPr>
        <p:spPr>
          <a:xfrm>
            <a:off x="7536160" y="1052736"/>
            <a:ext cx="0" cy="5661248"/>
          </a:xfrm>
          <a:prstGeom prst="line">
            <a:avLst/>
          </a:prstGeom>
          <a:ln w="28575" cap="flat" cmpd="sng" algn="ctr">
            <a:solidFill>
              <a:srgbClr val="8CA55F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2282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A9293B99-248C-45DB-9EA8-0C26412506A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4052" t="16384" r="14565" b="19535"/>
          <a:stretch/>
        </p:blipFill>
        <p:spPr>
          <a:xfrm>
            <a:off x="1343472" y="1005952"/>
            <a:ext cx="9289032" cy="5807424"/>
          </a:xfrm>
          <a:prstGeom prst="rect">
            <a:avLst/>
          </a:prstGeom>
        </p:spPr>
      </p:pic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1F94BC4B-0703-4E7F-9213-0ED53C0756BB}"/>
              </a:ext>
            </a:extLst>
          </p:cNvPr>
          <p:cNvSpPr/>
          <p:nvPr/>
        </p:nvSpPr>
        <p:spPr>
          <a:xfrm>
            <a:off x="1199456" y="-19240"/>
            <a:ext cx="871296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Схема причинно-следственного анализа (Исикавы) </a:t>
            </a:r>
          </a:p>
          <a:p>
            <a:r>
              <a:rPr lang="ru-RU" sz="2800" b="1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проблемы низкий показатель качества бюджета </a:t>
            </a:r>
            <a:endParaRPr lang="ru-RU" sz="2800" b="1" dirty="0">
              <a:solidFill>
                <a:schemeClr val="accent3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2282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FC39DBC-2343-4818-BC26-E6B9483E262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429" t="12182" r="10429" b="10081"/>
          <a:stretch/>
        </p:blipFill>
        <p:spPr>
          <a:xfrm>
            <a:off x="191344" y="980727"/>
            <a:ext cx="11665296" cy="5845545"/>
          </a:xfrm>
          <a:prstGeom prst="rect">
            <a:avLst/>
          </a:prstGeom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2CC37E96-7172-4C12-B6B5-3F4BCD85E1AB}"/>
              </a:ext>
            </a:extLst>
          </p:cNvPr>
          <p:cNvSpPr/>
          <p:nvPr/>
        </p:nvSpPr>
        <p:spPr>
          <a:xfrm>
            <a:off x="1271464" y="31728"/>
            <a:ext cx="813690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Схема новой структуры бизнес-процессов инициативного «бюджетирования» </a:t>
            </a:r>
            <a:endParaRPr lang="ru-RU" sz="2800" b="1" dirty="0">
              <a:solidFill>
                <a:schemeClr val="accent3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853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1EF287B5-1F67-4C5C-B04B-90F1622F2626}"/>
              </a:ext>
            </a:extLst>
          </p:cNvPr>
          <p:cNvSpPr/>
          <p:nvPr/>
        </p:nvSpPr>
        <p:spPr>
          <a:xfrm>
            <a:off x="-168696" y="1468234"/>
            <a:ext cx="5616624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>
              <a:spcAft>
                <a:spcPts val="0"/>
              </a:spcAft>
            </a:pPr>
            <a:r>
              <a:rPr lang="ru-RU" sz="2000" b="1" i="1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. Подготовительный этап</a:t>
            </a:r>
          </a:p>
          <a:p>
            <a:pPr marL="628650" lvl="0" indent="-285750">
              <a:spcAft>
                <a:spcPts val="0"/>
              </a:spcAft>
              <a:buFontTx/>
              <a:buChar char="-"/>
            </a:pP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анализ существующей системы бюджетирования</a:t>
            </a:r>
          </a:p>
          <a:p>
            <a:pPr marL="628650" lvl="0" indent="-285750">
              <a:spcAft>
                <a:spcPts val="0"/>
              </a:spcAft>
              <a:buFontTx/>
              <a:buChar char="-"/>
            </a:pP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ыявление проблемных зон бюджетирования</a:t>
            </a:r>
          </a:p>
          <a:p>
            <a:pPr marL="628650" lvl="0" indent="-285750">
              <a:spcAft>
                <a:spcPts val="0"/>
              </a:spcAft>
              <a:buFontTx/>
              <a:buChar char="-"/>
            </a:pP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формирование регламента системы бюджетов</a:t>
            </a:r>
          </a:p>
          <a:p>
            <a:pPr marL="628650" lvl="0" indent="-285750">
              <a:spcAft>
                <a:spcPts val="0"/>
              </a:spcAft>
              <a:buFontTx/>
              <a:buChar char="-"/>
            </a:pP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азработка и утверждение видов и форматов документов</a:t>
            </a:r>
          </a:p>
          <a:p>
            <a:pPr marL="628650" lvl="0" indent="-285750">
              <a:spcAft>
                <a:spcPts val="0"/>
              </a:spcAft>
              <a:buFontTx/>
              <a:buChar char="-"/>
            </a:pP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азработка и утверждение методик расчета нормативов</a:t>
            </a:r>
          </a:p>
          <a:p>
            <a:pPr marL="628650" lvl="0" indent="-285750">
              <a:spcAft>
                <a:spcPts val="0"/>
              </a:spcAft>
              <a:buFontTx/>
              <a:buChar char="-"/>
            </a:pP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азработка и утверждение схем консолидации</a:t>
            </a:r>
            <a:endParaRPr lang="en-US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628650" lvl="0" indent="-285750">
              <a:spcAft>
                <a:spcPts val="0"/>
              </a:spcAft>
              <a:buFontTx/>
              <a:buChar char="-"/>
            </a:pPr>
            <a:endParaRPr lang="ru-RU" sz="140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>
              <a:spcAft>
                <a:spcPts val="0"/>
              </a:spcAft>
            </a:pPr>
            <a:r>
              <a:rPr lang="ru-RU" sz="2000" b="1" i="1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. Разработка технического задания</a:t>
            </a:r>
          </a:p>
          <a:p>
            <a:pPr marL="628650" lvl="0" indent="-285750">
              <a:spcAft>
                <a:spcPts val="0"/>
              </a:spcAft>
              <a:buFontTx/>
              <a:buChar char="-"/>
            </a:pP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формирование технического задания по каждому виду бюджетов</a:t>
            </a:r>
          </a:p>
          <a:p>
            <a:pPr marL="628650" lvl="0" indent="-285750">
              <a:spcAft>
                <a:spcPts val="0"/>
              </a:spcAft>
              <a:buFontTx/>
              <a:buChar char="-"/>
            </a:pP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формирование технического задания по консолидации</a:t>
            </a:r>
          </a:p>
          <a:p>
            <a:pPr marL="628650" lvl="0" indent="-285750">
              <a:spcAft>
                <a:spcPts val="0"/>
              </a:spcAft>
              <a:buFontTx/>
              <a:buChar char="-"/>
            </a:pP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писание правил сбора базы данных для исторических показателей</a:t>
            </a:r>
            <a:endParaRPr lang="ru-RU" sz="140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BC447A0C-4C16-41BF-8DC2-F0755EE63D52}"/>
              </a:ext>
            </a:extLst>
          </p:cNvPr>
          <p:cNvSpPr/>
          <p:nvPr/>
        </p:nvSpPr>
        <p:spPr>
          <a:xfrm>
            <a:off x="5879976" y="1052736"/>
            <a:ext cx="6115046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>
              <a:spcAft>
                <a:spcPts val="0"/>
              </a:spcAft>
            </a:pPr>
            <a:r>
              <a:rPr lang="ru-RU" sz="2000" b="1" i="1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3. Этап разработки / внедрения программного обеспечения</a:t>
            </a:r>
          </a:p>
          <a:p>
            <a:pPr marL="628650" lvl="0" indent="-285750">
              <a:spcAft>
                <a:spcPts val="0"/>
              </a:spcAft>
              <a:buFontTx/>
              <a:buChar char="-"/>
            </a:pP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азработка конфигурации бюджетов</a:t>
            </a:r>
            <a:endParaRPr lang="ru-RU" sz="14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628650" lvl="0" indent="-285750">
              <a:spcAft>
                <a:spcPts val="0"/>
              </a:spcAft>
              <a:buFontTx/>
              <a:buChar char="-"/>
            </a:pP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ыявление узких мест автоматизированной системы</a:t>
            </a:r>
          </a:p>
          <a:p>
            <a:pPr marL="628650" lvl="0" indent="-285750">
              <a:spcAft>
                <a:spcPts val="0"/>
              </a:spcAft>
              <a:buFontTx/>
              <a:buChar char="-"/>
            </a:pP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устранение узких мест автоматизированной системы </a:t>
            </a:r>
          </a:p>
          <a:p>
            <a:pPr marL="628650" lvl="0" indent="-285750">
              <a:spcAft>
                <a:spcPts val="0"/>
              </a:spcAft>
              <a:buFontTx/>
              <a:buChar char="-"/>
            </a:pP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роверка работоспособности отдельных планов клиентами проекта</a:t>
            </a:r>
            <a:endParaRPr lang="en-US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628650" lvl="0" indent="-285750">
              <a:spcAft>
                <a:spcPts val="0"/>
              </a:spcAft>
              <a:buFontTx/>
              <a:buChar char="-"/>
            </a:pPr>
            <a:endParaRPr lang="ru-RU" sz="14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>
              <a:spcAft>
                <a:spcPts val="0"/>
              </a:spcAft>
            </a:pPr>
            <a:r>
              <a:rPr lang="ru-RU" sz="2000" b="1" i="1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4. Этап настройки аналитики </a:t>
            </a:r>
            <a:endParaRPr lang="ru-RU" sz="2000" b="1" i="1" dirty="0">
              <a:solidFill>
                <a:schemeClr val="accent3">
                  <a:lumMod val="50000"/>
                </a:schemeClr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628650" lvl="0" indent="-285750">
              <a:spcAft>
                <a:spcPts val="0"/>
              </a:spcAft>
              <a:buFontTx/>
              <a:buChar char="-"/>
            </a:pP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ценарный анализ </a:t>
            </a:r>
          </a:p>
          <a:p>
            <a:pPr marL="628650" lvl="0" indent="-285750">
              <a:spcAft>
                <a:spcPts val="0"/>
              </a:spcAft>
              <a:buFontTx/>
              <a:buChar char="-"/>
            </a:pP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ачественная визуализация (информационные панели, </a:t>
            </a:r>
            <a:r>
              <a:rPr lang="ru-RU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ашборды</a:t>
            </a: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  <a:p>
            <a:pPr marL="628650" lvl="0" indent="-285750">
              <a:spcAft>
                <a:spcPts val="0"/>
              </a:spcAft>
              <a:buFontTx/>
              <a:buChar char="-"/>
            </a:pP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функция полноценного анализа отклонений</a:t>
            </a:r>
          </a:p>
          <a:p>
            <a:pPr marL="628650" lvl="0" indent="-285750">
              <a:spcAft>
                <a:spcPts val="0"/>
              </a:spcAft>
              <a:buFontTx/>
              <a:buChar char="-"/>
            </a:pP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озможность формирования на базе бюджетов ключевых показателей эффективности</a:t>
            </a:r>
            <a:endParaRPr lang="en-US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628650" lvl="0" indent="-285750">
              <a:spcAft>
                <a:spcPts val="0"/>
              </a:spcAft>
              <a:buFontTx/>
              <a:buChar char="-"/>
            </a:pPr>
            <a:endParaRPr lang="ru-RU" sz="14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>
              <a:spcAft>
                <a:spcPts val="0"/>
              </a:spcAft>
            </a:pPr>
            <a:r>
              <a:rPr lang="ru-RU" sz="2000" b="1" i="1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5. Заключительный этап</a:t>
            </a:r>
            <a:endParaRPr lang="ru-RU" sz="2000" b="1" i="1" dirty="0">
              <a:solidFill>
                <a:schemeClr val="accent3">
                  <a:lumMod val="50000"/>
                </a:schemeClr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628650" lvl="0" indent="-285750">
              <a:spcAft>
                <a:spcPts val="0"/>
              </a:spcAft>
              <a:buFontTx/>
              <a:buChar char="-"/>
            </a:pP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бучение персонала</a:t>
            </a:r>
          </a:p>
          <a:p>
            <a:pPr marL="628650" lvl="0" indent="-285750">
              <a:spcAft>
                <a:spcPts val="0"/>
              </a:spcAft>
              <a:buFontTx/>
              <a:buChar char="-"/>
            </a:pP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олная апробация автоматизированной системы</a:t>
            </a:r>
          </a:p>
          <a:p>
            <a:pPr marL="628650" lvl="0" indent="-285750">
              <a:spcAft>
                <a:spcPts val="0"/>
              </a:spcAft>
              <a:buFontTx/>
              <a:buChar char="-"/>
            </a:pP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ехническая поддержка</a:t>
            </a:r>
            <a:endParaRPr lang="ru-RU" sz="14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1CE149B6-BA59-4B71-9B34-40B346FA5F5D}"/>
              </a:ext>
            </a:extLst>
          </p:cNvPr>
          <p:cNvSpPr/>
          <p:nvPr/>
        </p:nvSpPr>
        <p:spPr>
          <a:xfrm>
            <a:off x="1379476" y="97933"/>
            <a:ext cx="813690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b="1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</a:rPr>
              <a:t>«Дерево работ» по проекту</a:t>
            </a:r>
            <a:endParaRPr lang="ru-RU" sz="3600" b="1" dirty="0">
              <a:solidFill>
                <a:schemeClr val="accent3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2491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7C5063F9-00B8-43BF-A8FF-60C7ED385715}"/>
              </a:ext>
            </a:extLst>
          </p:cNvPr>
          <p:cNvSpPr/>
          <p:nvPr/>
        </p:nvSpPr>
        <p:spPr>
          <a:xfrm>
            <a:off x="1415480" y="81498"/>
            <a:ext cx="813690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b="1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</a:rPr>
              <a:t>Матрица ответственности</a:t>
            </a:r>
            <a:endParaRPr lang="ru-RU" sz="36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D30BBC96-A33B-4491-8F02-0B1EBDB6219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8779" t="16384" r="19878" b="18485"/>
          <a:stretch/>
        </p:blipFill>
        <p:spPr>
          <a:xfrm>
            <a:off x="18052" y="1124744"/>
            <a:ext cx="5814029" cy="5328592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0180E5DE-88C1-42E0-A9F5-A4D755BA1B6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9097" t="18125" r="19560" b="21102"/>
          <a:stretch/>
        </p:blipFill>
        <p:spPr>
          <a:xfrm>
            <a:off x="5933881" y="1124745"/>
            <a:ext cx="6275931" cy="5328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721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03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2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_gbLmsXCprwr3jl8ov1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0957</TotalTime>
  <Words>585</Words>
  <Application>Microsoft Office PowerPoint</Application>
  <PresentationFormat>Широкоэкранный</PresentationFormat>
  <Paragraphs>118</Paragraphs>
  <Slides>17</Slides>
  <Notes>1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23" baseType="lpstr">
      <vt:lpstr>Arial</vt:lpstr>
      <vt:lpstr>Calibri</vt:lpstr>
      <vt:lpstr>Times New Roman</vt:lpstr>
      <vt:lpstr>Wingdings</vt:lpstr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елена Фирсова</dc:creator>
  <cp:lastModifiedBy>Ващенко Алена Юрьевна (Истрашкина)</cp:lastModifiedBy>
  <cp:revision>489</cp:revision>
  <cp:lastPrinted>2018-04-20T12:05:34Z</cp:lastPrinted>
  <dcterms:created xsi:type="dcterms:W3CDTF">2017-11-28T12:43:44Z</dcterms:created>
  <dcterms:modified xsi:type="dcterms:W3CDTF">2020-12-01T07:56:38Z</dcterms:modified>
</cp:coreProperties>
</file>